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51" r:id="rId18"/>
    <p:sldId id="1350" r:id="rId19"/>
    <p:sldId id="1347" r:id="rId20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79" autoAdjust="0"/>
    <p:restoredTop sz="94764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272" y="168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11.02.21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11.02.21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11.02.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11.02.21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emf"/><Relationship Id="rId4" Type="http://schemas.openxmlformats.org/officeDocument/2006/relationships/image" Target="../media/image12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2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tiff"/><Relationship Id="rId4" Type="http://schemas.openxmlformats.org/officeDocument/2006/relationships/image" Target="../media/image1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image" Target="../media/image5.png"/><Relationship Id="rId7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hyperlink" Target="http://www.linkedin.com/in/sven-thies" TargetMode="External"/><Relationship Id="rId4" Type="http://schemas.openxmlformats.org/officeDocument/2006/relationships/hyperlink" Target="mailto:sven_thies@web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20/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Gegeben eine Hypothese, 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b="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rgbClr val="262626"/>
                </a:solidFill>
                <a:cs typeface="Courier New" panose="02070309020205020404" pitchFamily="49" charset="0"/>
              </a:rPr>
              <a:t>In welchem Ordner befinde ich mich gerade?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zeig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r>
              <a:rPr lang="de-DE" sz="1600" dirty="0">
                <a:cs typeface="Courier New" panose="02070309020205020404" pitchFamily="49" charset="0"/>
              </a:rPr>
              <a:t> von </a:t>
            </a:r>
            <a:r>
              <a:rPr lang="de-DE" sz="1600" dirty="0" err="1">
                <a:cs typeface="Courier New" panose="02070309020205020404" pitchFamily="49" charset="0"/>
              </a:rPr>
              <a:t>RStudio</a:t>
            </a:r>
            <a:r>
              <a:rPr lang="de-DE" sz="1600" dirty="0">
                <a:cs typeface="Courier New" panose="02070309020205020404" pitchFamily="49" charset="0"/>
              </a:rPr>
              <a:t> a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twd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cs typeface="Courier New" panose="02070309020205020404" pitchFamily="49" charset="0"/>
              </a:rPr>
              <a:t> setzt das </a:t>
            </a:r>
            <a:r>
              <a:rPr lang="de-DE" sz="1600" i="1" dirty="0" err="1">
                <a:cs typeface="Courier New" panose="02070309020205020404" pitchFamily="49" charset="0"/>
              </a:rPr>
              <a:t>working</a:t>
            </a:r>
            <a:r>
              <a:rPr lang="de-DE" sz="1600" i="1" dirty="0">
                <a:cs typeface="Courier New" panose="02070309020205020404" pitchFamily="49" charset="0"/>
              </a:rPr>
              <a:t> </a:t>
            </a:r>
            <a:r>
              <a:rPr lang="de-DE" sz="1600" i="1" dirty="0" err="1">
                <a:cs typeface="Courier New" panose="02070309020205020404" pitchFamily="49" charset="0"/>
              </a:rPr>
              <a:t>directory</a:t>
            </a:r>
            <a:endParaRPr lang="de-DE" sz="1600" b="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marL="611188" lvl="3" indent="-342900"/>
            <a:endParaRPr lang="de-DE" sz="16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332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“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&amp; </a:t>
            </a:r>
            <a:r>
              <a:rPr lang="de-DE" dirty="0" err="1"/>
              <a:t>Answer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33023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Quiz-Time</a:t>
            </a:r>
          </a:p>
          <a:p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  <a:hlinkClick r:id="rId2"/>
              </a:rPr>
              <a:t>www.menti.com</a:t>
            </a:r>
            <a:r>
              <a:rPr lang="de-DE" sz="2000" b="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28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/>
              <a:t> 2020/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7" y="1381125"/>
            <a:ext cx="4787843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09 - 2014: </a:t>
            </a:r>
            <a:r>
              <a:rPr lang="de-DE" sz="1400" kern="0" dirty="0"/>
              <a:t>BWL </a:t>
            </a:r>
            <a:r>
              <a:rPr lang="de-DE" sz="1400" kern="0" dirty="0" err="1"/>
              <a:t>B.Sc</a:t>
            </a:r>
            <a:r>
              <a:rPr lang="de-DE" sz="1400" kern="0" dirty="0"/>
              <a:t>. Uni Bremen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14 - 2017: </a:t>
            </a:r>
            <a:r>
              <a:rPr lang="de-DE" sz="1400" kern="0" dirty="0"/>
              <a:t>Promotion Uni Bremen</a:t>
            </a:r>
          </a:p>
          <a:p>
            <a:pPr marL="257175" indent="-257175" defTabSz="769144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17 - 2019: </a:t>
            </a:r>
            <a:r>
              <a:rPr lang="de-DE" sz="1400" kern="0" dirty="0"/>
              <a:t>Data Scientist bei Traum-Ferienwohnungen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Statistische Analysen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Machine</a:t>
            </a:r>
            <a:r>
              <a:rPr lang="de-DE" sz="1400" kern="0" dirty="0">
                <a:solidFill>
                  <a:schemeClr val="tx2"/>
                </a:solidFill>
              </a:rPr>
              <a:t> Learning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20 - 2020: </a:t>
            </a:r>
            <a:r>
              <a:rPr lang="de-DE" sz="1400" kern="0" dirty="0"/>
              <a:t>KI-Berater bei </a:t>
            </a:r>
            <a:r>
              <a:rPr lang="de-DE" sz="1400" kern="0" dirty="0" err="1"/>
              <a:t>PTSGroup</a:t>
            </a:r>
            <a:r>
              <a:rPr lang="de-DE" sz="1400" kern="0" dirty="0"/>
              <a:t> 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Wissensvermittlung</a:t>
            </a:r>
          </a:p>
          <a:p>
            <a:pPr marL="769144" indent="-257175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KI Einsatzmöglichkeiten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/>
              <a:t>2020 - heute: </a:t>
            </a:r>
            <a:r>
              <a:rPr lang="de-DE" sz="1400" kern="0" dirty="0"/>
              <a:t>Senior Consultant bei INFOMOTION</a:t>
            </a:r>
          </a:p>
          <a:p>
            <a:pPr marL="810816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- </a:t>
            </a:r>
            <a:r>
              <a:rPr lang="de-DE" sz="1400" kern="0" dirty="0" err="1">
                <a:solidFill>
                  <a:schemeClr val="tx2"/>
                </a:solidFill>
              </a:rPr>
              <a:t>Advanced</a:t>
            </a:r>
            <a:r>
              <a:rPr lang="de-DE" sz="1400" kern="0" dirty="0">
                <a:solidFill>
                  <a:schemeClr val="tx2"/>
                </a:solidFill>
              </a:rPr>
              <a:t> Analytics Kundenprojekte</a:t>
            </a:r>
          </a:p>
          <a:p>
            <a:pPr marL="810816" lvl="1">
              <a:spcBef>
                <a:spcPts val="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- Internes Ausbildungsprogramm</a:t>
            </a:r>
            <a:endParaRPr lang="de-DE" sz="1400" kern="0" dirty="0"/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242888" indent="-222647">
              <a:spcBef>
                <a:spcPts val="450"/>
              </a:spcBef>
              <a:spcAft>
                <a:spcPts val="45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Lehrerfahrungen</a:t>
            </a:r>
            <a:endParaRPr lang="de-DE" sz="1400" kern="0" dirty="0">
              <a:latin typeface="Arial"/>
            </a:endParaRP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Big Data &amp; Data Science	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Quantitative Forschungsmethoden 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Personalforschung 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Quantitative </a:t>
            </a:r>
            <a:r>
              <a:rPr lang="de-DE" sz="1200" kern="0" dirty="0" err="1"/>
              <a:t>Finance</a:t>
            </a:r>
            <a:r>
              <a:rPr lang="de-DE" sz="1200" kern="0" dirty="0"/>
              <a:t> 	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Wissenschaftliche Methodik</a:t>
            </a:r>
          </a:p>
          <a:p>
            <a:pPr marL="242888" indent="-222647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200" kern="0" dirty="0"/>
              <a:t>	Statistik (Uni Bremen)</a:t>
            </a: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536972"/>
            <a:r>
              <a:rPr lang="de-DE" sz="7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536972"/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Senior Consultant </a:t>
            </a:r>
            <a:r>
              <a:rPr lang="de-DE" sz="600" b="1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dvanced</a:t>
            </a: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Analytics</a:t>
            </a:r>
          </a:p>
          <a:p>
            <a:pPr marL="536972"/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INFOMOTION GMBH</a:t>
            </a: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Westhafenplatz 1</a:t>
            </a: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60327 Frankfurt am Main</a:t>
            </a: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536972"/>
            <a:r>
              <a:rPr lang="de-DE" sz="6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linkedin.com/in/sven-thies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  <p:pic>
        <p:nvPicPr>
          <p:cNvPr id="1026" name="Picture 2" descr="Image result for infomotion">
            <a:extLst>
              <a:ext uri="{FF2B5EF4-FFF2-40B4-BE49-F238E27FC236}">
                <a16:creationId xmlns:a16="http://schemas.microsoft.com/office/drawing/2014/main" id="{D06EC481-0119-A043-A9ED-24715ABD6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03" y="2884267"/>
            <a:ext cx="2299984" cy="108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594105"/>
            <a:ext cx="8315181" cy="82385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228212"/>
              </p:ext>
            </p:extLst>
          </p:nvPr>
        </p:nvGraphicFramePr>
        <p:xfrm>
          <a:off x="114171" y="1067098"/>
          <a:ext cx="8067402" cy="43019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strike="noStrike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endParaRPr lang="de-DE" sz="1200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1113">
                        <a:tabLst/>
                      </a:pPr>
                      <a:r>
                        <a:rPr lang="de-DE" sz="1400" strike="sngStrike" dirty="0"/>
                        <a:t>Quiz-Time</a:t>
                      </a:r>
                      <a:r>
                        <a:rPr lang="de-DE" sz="1400" strike="noStrike" dirty="0"/>
                        <a:t> Q&amp;A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333387"/>
                  </a:ext>
                </a:extLst>
              </a:tr>
            </a:tbl>
          </a:graphicData>
        </a:graphic>
      </p:graphicFrame>
      <p:pic>
        <p:nvPicPr>
          <p:cNvPr id="2050" name="Picture 2" descr="Image result for fast forward">
            <a:extLst>
              <a:ext uri="{FF2B5EF4-FFF2-40B4-BE49-F238E27FC236}">
                <a16:creationId xmlns:a16="http://schemas.microsoft.com/office/drawing/2014/main" id="{A072F96D-43F7-CC41-B668-3137E93CB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091630"/>
            <a:ext cx="1137863" cy="1137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build="p"/>
      <p:bldP spid="13" grpId="0" animBg="1"/>
      <p:bldP spid="5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E57FFD0C-9D85-7F45-884F-8FDD885FA20A}"/>
              </a:ext>
            </a:extLst>
          </p:cNvPr>
          <p:cNvSpPr txBox="1">
            <a:spLocks/>
          </p:cNvSpPr>
          <p:nvPr/>
        </p:nvSpPr>
        <p:spPr bwMode="auto">
          <a:xfrm>
            <a:off x="241314" y="4277457"/>
            <a:ext cx="5151301" cy="137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Font typeface="Arial" panose="020B0604020202020204" pitchFamily="34" charset="0"/>
              <a:buChar char="•"/>
            </a:pPr>
            <a:r>
              <a:rPr lang="de-DE" kern="0" dirty="0"/>
              <a:t>Hilfestellung gibt es unter </a:t>
            </a:r>
            <a:r>
              <a:rPr lang="de-DE" dirty="0" err="1"/>
              <a:t>R@fom.de</a:t>
            </a:r>
            <a:r>
              <a:rPr lang="de-DE" dirty="0"/>
              <a:t>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01049" y="5676875"/>
            <a:ext cx="2672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rgebnisse des Codes werd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angezeig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1537312" y="4660107"/>
            <a:ext cx="678350" cy="101676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1756" y="1816869"/>
            <a:ext cx="136928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Schreibe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er hinein,</a:t>
            </a:r>
          </a:p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CTRL+Enter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 den Code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uszuführ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391042" y="2401645"/>
            <a:ext cx="824620" cy="31810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997643"/>
            <a:ext cx="2907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Tabellen, </a:t>
            </a:r>
            <a:r>
              <a:rPr lang="de-DE" sz="1400" dirty="0" err="1">
                <a:latin typeface="+mn-lt"/>
                <a:cs typeface="Arial" panose="020B0604020202020204" pitchFamily="34" charset="0"/>
              </a:rPr>
              <a:t>data.frames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 &amp; Variablen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angezeig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90492" y="1520863"/>
            <a:ext cx="834581" cy="106993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168910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Hilfe &amp;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installier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Pakete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werden hier </a:t>
            </a:r>
          </a:p>
          <a:p>
            <a:r>
              <a:rPr lang="de-DE" sz="1400" dirty="0">
                <a:latin typeface="+mn-lt"/>
                <a:cs typeface="Arial" panose="020B0604020202020204" pitchFamily="34" charset="0"/>
              </a:rPr>
              <a:t>angezeigt</a:t>
            </a:r>
            <a:endParaRPr lang="de-DE" sz="12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63099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03</Words>
  <Application>Microsoft Macintosh PowerPoint</Application>
  <PresentationFormat>Bildschirmpräsentation (4:3)</PresentationFormat>
  <Paragraphs>326</Paragraphs>
  <Slides>19</Slides>
  <Notes>13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3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710</cp:revision>
  <cp:lastPrinted>2013-02-22T13:48:11Z</cp:lastPrinted>
  <dcterms:created xsi:type="dcterms:W3CDTF">2017-12-20T06:53:29Z</dcterms:created>
  <dcterms:modified xsi:type="dcterms:W3CDTF">2021-02-11T13:25:08Z</dcterms:modified>
  <cp:version>20140523</cp:version>
</cp:coreProperties>
</file>